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330" r:id="rId3"/>
    <p:sldId id="313" r:id="rId4"/>
    <p:sldId id="328" r:id="rId5"/>
    <p:sldId id="329" r:id="rId6"/>
    <p:sldId id="334" r:id="rId7"/>
    <p:sldId id="332" r:id="rId8"/>
    <p:sldId id="333" r:id="rId9"/>
    <p:sldId id="331" r:id="rId10"/>
    <p:sldId id="335" r:id="rId11"/>
  </p:sldIdLst>
  <p:sldSz cx="12192000" cy="6858000"/>
  <p:notesSz cx="6797675" cy="9926638"/>
  <p:embeddedFontLst>
    <p:embeddedFont>
      <p:font typeface="Panton Bold" panose="020B0604020202020204" charset="-52"/>
      <p:bold r:id="rId14"/>
    </p:embeddedFont>
    <p:embeddedFont>
      <p:font typeface="Panton SemiBold" panose="020B0604020202020204" charset="-52"/>
      <p:bold r:id="rId15"/>
    </p:embeddedFont>
    <p:embeddedFont>
      <p:font typeface="Panton" panose="020B0604020202020204" charset="-52"/>
      <p:regular r:id="rId16"/>
      <p:bold r:id="rId17"/>
    </p:embeddedFont>
    <p:embeddedFont>
      <p:font typeface="Calibri Light" panose="020F0302020204030204" pitchFamily="34" charset="0"/>
      <p:regular r:id="rId18"/>
      <p: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Царь ." initials="Ц.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D99"/>
    <a:srgbClr val="3494CD"/>
    <a:srgbClr val="2A6BA6"/>
    <a:srgbClr val="536887"/>
    <a:srgbClr val="EF4247"/>
    <a:srgbClr val="FF7C80"/>
    <a:srgbClr val="6699FF"/>
    <a:srgbClr val="66FFFF"/>
    <a:srgbClr val="CCFF33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91187" autoAdjust="0"/>
  </p:normalViewPr>
  <p:slideViewPr>
    <p:cSldViewPr snapToGrid="0" snapToObjects="1">
      <p:cViewPr varScale="1">
        <p:scale>
          <a:sx n="101" d="100"/>
          <a:sy n="101" d="100"/>
        </p:scale>
        <p:origin x="73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3" d="100"/>
          <a:sy n="93" d="100"/>
        </p:scale>
        <p:origin x="378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360EA-D26A-50EF-5562-23528C2BB2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A9ABD5-F164-D503-3416-DF0210A203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61DF06-28A0-B948-9048-FC086E01C014}" type="datetimeFigureOut">
              <a:rPr lang="x-none" smtClean="0"/>
              <a:t>18.05.2026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57B3-4992-D678-00C0-C7F2A39F59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945179-E3EC-B650-F577-1B3DB4A0FC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F2E7F5-4495-E24D-8218-5274570BE5F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035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6F3A14-DCB4-9C45-A8D5-861FBA55E65C}" type="datetimeFigureOut">
              <a:rPr lang="x-none" smtClean="0"/>
              <a:t>18.05.2026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DCB44A-2A57-334E-9DB0-B83F63683EA5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4089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B14EF91-FC9D-52CB-8752-9E72E7652E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-2856443"/>
            <a:ext cx="12192000" cy="66590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68B3A7-F6A5-B3EF-0B1B-2BD8D30781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25B868-6340-D21D-18E2-7EAE865543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315A07-25C0-1ED2-5EC3-52646CC32C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33CF2D-0B16-C64A-9504-13689605AD71}" type="datetime1">
              <a:rPr lang="ru-RU" smtClean="0"/>
              <a:t>18.05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C9FB52-E08E-B7ED-A698-5FD454A13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32AB-DCA3-DA0A-5294-EAB50F493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4088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31BED-4643-84FE-C5D9-2DD79F8A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BBD520-4BA3-09B2-19D9-E38026AFE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A3245-CAF1-87D0-F47C-A14079CA3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0508C-8341-CB41-9A35-963B4336901A}" type="datetime1">
              <a:rPr lang="ru-RU" smtClean="0"/>
              <a:t>18.05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AF0FA-BB91-F253-123D-110D4404B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7C39E-5368-3EC3-EFBD-1933AFC22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53922595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9844010-1179-6DA4-AE25-3A0D60CFE8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175847-64B0-91EE-C7D3-7EC759A3ED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CAB151-B517-FDD6-E2D0-193C81A12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520DB-34A3-CC4B-B883-34F61092742F}" type="datetime1">
              <a:rPr lang="ru-RU" smtClean="0"/>
              <a:t>18.05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D33205-7579-F408-EFA4-406672C98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0CAEF-34DB-6C32-6468-D58AC4038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79504837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F4E68B2-536E-B2A8-0785-11C22B3BC0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7070" y="5660131"/>
            <a:ext cx="8834930" cy="1216545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247E3093-A6AC-3F5F-E725-50E8FE471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185160"/>
          </a:xfrm>
          <a:prstGeom prst="rect">
            <a:avLst/>
          </a:prstGeom>
        </p:spPr>
      </p:pic>
      <p:sp>
        <p:nvSpPr>
          <p:cNvPr id="7" name="Triangle 6">
            <a:extLst>
              <a:ext uri="{FF2B5EF4-FFF2-40B4-BE49-F238E27FC236}">
                <a16:creationId xmlns:a16="http://schemas.microsoft.com/office/drawing/2014/main" id="{28473ADB-510C-2812-D343-F5CE561D4D83}"/>
              </a:ext>
            </a:extLst>
          </p:cNvPr>
          <p:cNvSpPr/>
          <p:nvPr userDrawn="1"/>
        </p:nvSpPr>
        <p:spPr>
          <a:xfrm>
            <a:off x="1" y="5862918"/>
            <a:ext cx="1108038" cy="1013758"/>
          </a:xfrm>
          <a:prstGeom prst="triangle">
            <a:avLst>
              <a:gd name="adj" fmla="val 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D6DA18-B14F-CAC2-450B-DCE653AC8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  <a:latin typeface="Panton Bold" panose="00000800000000000000" pitchFamily="2" charset="-52"/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E8232C-212D-344F-C183-7A2ED16E3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0124"/>
            <a:ext cx="10515600" cy="4351338"/>
          </a:xfrm>
        </p:spPr>
        <p:txBody>
          <a:bodyPr/>
          <a:lstStyle>
            <a:lvl1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1pPr>
            <a:lvl2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2pPr>
            <a:lvl3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3pPr>
            <a:lvl4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4pPr>
            <a:lvl5pPr>
              <a:defRPr>
                <a:solidFill>
                  <a:srgbClr val="0DADCE"/>
                </a:solidFill>
                <a:latin typeface="Panton" panose="00000500000000000000" pitchFamily="2" charset="-52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x-non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6625F-2310-61BC-D902-07E52B944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FC2F0-3A5B-6C04-1FA3-9077EB3A1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43" y="6420898"/>
            <a:ext cx="2743200" cy="365125"/>
          </a:xfrm>
        </p:spPr>
        <p:txBody>
          <a:bodyPr/>
          <a:lstStyle>
            <a:lvl1pPr algn="l">
              <a:defRPr lang="x-none" sz="2400" b="1" i="0" kern="1200" smtClean="0">
                <a:solidFill>
                  <a:schemeClr val="bg1"/>
                </a:solidFill>
                <a:latin typeface="Panton SemiBold" pitchFamily="2" charset="77"/>
                <a:ea typeface="+mn-ea"/>
                <a:cs typeface="+mn-cs"/>
              </a:defRPr>
            </a:lvl1pPr>
          </a:lstStyle>
          <a:p>
            <a:fld id="{D510D72B-6434-DC4A-A382-951B0FCB8A9C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683504603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1D59E-59A6-190D-EDBA-B205F4EE9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453E92-4D60-66C4-E536-D519E4E49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9EB1E-32E1-D677-94C8-237A10408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2609C-720D-694C-BFFD-A2181055E089}" type="datetime1">
              <a:rPr lang="ru-RU" smtClean="0"/>
              <a:t>18.05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19B6D-444A-1393-E517-D48FDFB32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42F2B-AC9F-0632-302D-5CA739B20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80099310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15683-D2D8-B583-1F6E-36F1EB570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A5ADD-DFE4-92CB-4C49-0D795F4668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865892-2FF0-BFF0-5E48-D607828895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FAF0D-B720-2E83-D112-0E8826098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B9E199-48A2-274F-A593-E3CC015B076C}" type="datetime1">
              <a:rPr lang="ru-RU" smtClean="0"/>
              <a:t>18.05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CE516B-DCD4-3A8B-8483-37D90F9AC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3B0999-E53D-EDCC-5BDF-583FDA0E8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63711649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E8489-31A3-9440-1C55-02E75A628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582E4-F836-E784-FA27-09D177D93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8A5789-148E-9F6E-FC72-43407D482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32A60-47B8-0026-2930-2207ED78B8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DBEDE4-315F-EE3B-1F29-B57CAEC2AF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761EF8-ADC1-3495-42DF-EC92FD03F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2468B-2FEF-334A-843C-F44DCBA5EE0B}" type="datetime1">
              <a:rPr lang="ru-RU" smtClean="0"/>
              <a:t>18.05.2026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B68231-9521-6BA0-8A88-FB539AE6F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5EDAFF-E90C-8B38-9DC4-A8AC38D4B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48291566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04C2C-A7CA-5117-CE55-5317120CF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DA5EE9-B7C6-D85F-8DD9-68B9F3B1E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B1EF9-C5D7-B84F-AC15-4F6FDB7BBDC5}" type="datetime1">
              <a:rPr lang="ru-RU" smtClean="0"/>
              <a:t>18.05.2026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6F588E-5A5A-331B-8BD8-18E00BAA2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DBD13B-73CF-7D82-0519-EFA227B4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36188168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0CC518-079C-627F-8DF9-CBDB4217B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547B6-EA39-8042-9217-F9DC3B0D9B50}" type="datetime1">
              <a:rPr lang="ru-RU" smtClean="0"/>
              <a:t>18.05.2026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DD6F4-EC50-4250-1309-79C8F15B4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8E8B08-78BF-24E4-DEE9-80E3353BC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68132490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C1678-2182-3E22-B3E5-EE71E793A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DD111-85A4-7F36-7CAC-11E4464751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B13F9B-7583-F6C5-4571-5F8DC1302A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671CA2-F058-C7FA-E2FA-6C187C1A2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E198C-9BDC-AB48-88EE-AAC94F81C127}" type="datetime1">
              <a:rPr lang="ru-RU" smtClean="0"/>
              <a:t>18.05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8FF8E9-7DAD-EB64-6621-12FB8A2CA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DCB3F1-4E20-E759-2C0C-EF198A52D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83504544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D4D603-C410-747E-88B1-ED622578C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8DC91F-B272-7388-D12C-CD8A8D226A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BD80DE-757F-5032-DB71-BEC259AB33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F18109-8B49-30CF-AF84-B9EBA3302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EDA1B-A981-F143-80C0-75B98CAFCFE7}" type="datetime1">
              <a:rPr lang="ru-RU" smtClean="0"/>
              <a:t>18.05.2026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515932-0799-4ED2-08AD-CF613C711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57964-A3C7-BC23-479A-65B64DC3C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92394601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33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Слайд think-cell" r:id="rId15" imgW="425" imgH="424" progId="TCLayout.ActiveDocument.1">
                  <p:embed/>
                </p:oleObj>
              </mc:Choice>
              <mc:Fallback>
                <p:oleObj name="Слайд think-cell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EF2EA8-CAAE-3295-E0DF-8024A11B5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562CE-BFEC-D48B-9DF2-76980566E3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801F99-85A3-B4E0-8F5B-3C1D4EFA71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FAFDAC-BD23-BE48-BEA2-478DB56F806E}" type="datetime1">
              <a:rPr lang="ru-RU" smtClean="0"/>
              <a:t>18.05.2026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A057E-B060-6EE4-0723-D4AFB7FBA6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BA8FE2-6CAB-4B5F-533B-C998B2C4C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10D72B-6434-DC4A-A382-951B0FCB8A9C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636224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wipe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18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riangle 8">
            <a:extLst>
              <a:ext uri="{FF2B5EF4-FFF2-40B4-BE49-F238E27FC236}">
                <a16:creationId xmlns:a16="http://schemas.microsoft.com/office/drawing/2014/main" id="{55628F9E-C0AA-9EE9-4B1D-01223002A1E5}"/>
              </a:ext>
            </a:extLst>
          </p:cNvPr>
          <p:cNvSpPr/>
          <p:nvPr/>
        </p:nvSpPr>
        <p:spPr>
          <a:xfrm rot="1533917">
            <a:off x="7206760" y="4199772"/>
            <a:ext cx="6835966" cy="4496788"/>
          </a:xfrm>
          <a:prstGeom prst="triangle">
            <a:avLst>
              <a:gd name="adj" fmla="val 6687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ADCCA7-D1FB-F0AD-520B-3224EBB5F4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91575" y="6307888"/>
            <a:ext cx="3202546" cy="365125"/>
          </a:xfrm>
          <a:ln>
            <a:noFill/>
          </a:ln>
        </p:spPr>
        <p:txBody>
          <a:bodyPr/>
          <a:lstStyle/>
          <a:p>
            <a:pPr algn="r"/>
            <a:endParaRPr lang="x-none" sz="2800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Panton" pitchFamily="2" charset="77"/>
            </a:endParaRP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50A908D2-AF89-4F7B-80F4-1FA3B5C750A4}"/>
              </a:ext>
            </a:extLst>
          </p:cNvPr>
          <p:cNvSpPr txBox="1">
            <a:spLocks/>
          </p:cNvSpPr>
          <p:nvPr/>
        </p:nvSpPr>
        <p:spPr>
          <a:xfrm>
            <a:off x="477079" y="3519055"/>
            <a:ext cx="10274048" cy="29833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3600" dirty="0">
              <a:solidFill>
                <a:srgbClr val="1081C5"/>
              </a:solidFill>
              <a:latin typeface="Panton" panose="00000500000000000000" pitchFamily="2" charset="-52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2571861-A65C-4DEC-8060-AB371FF250E3}"/>
              </a:ext>
            </a:extLst>
          </p:cNvPr>
          <p:cNvSpPr/>
          <p:nvPr/>
        </p:nvSpPr>
        <p:spPr>
          <a:xfrm>
            <a:off x="3176" y="2659400"/>
            <a:ext cx="11573691" cy="347787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4400" dirty="0" smtClean="0">
                <a:solidFill>
                  <a:srgbClr val="243D99"/>
                </a:solidFill>
                <a:latin typeface="Panton Bold" panose="00000800000000000000" pitchFamily="2" charset="-52"/>
              </a:rPr>
              <a:t>Конкурс </a:t>
            </a:r>
            <a:br>
              <a:rPr lang="ru-RU" sz="4400" dirty="0" smtClean="0">
                <a:solidFill>
                  <a:srgbClr val="243D99"/>
                </a:solidFill>
                <a:latin typeface="Panton Bold" panose="00000800000000000000" pitchFamily="2" charset="-52"/>
              </a:rPr>
            </a:br>
            <a:r>
              <a:rPr lang="ru-RU" sz="4400" dirty="0">
                <a:solidFill>
                  <a:srgbClr val="243D99"/>
                </a:solidFill>
                <a:latin typeface="Panton Bold" panose="00000800000000000000" pitchFamily="2" charset="-52"/>
              </a:rPr>
              <a:t>«на присуждение премий лучшим учителям Ленинградской области за достижения в педагогической деятельности в 2026 году»</a:t>
            </a:r>
            <a:endParaRPr lang="ru-RU" sz="4400" dirty="0">
              <a:solidFill>
                <a:srgbClr val="243D99"/>
              </a:solidFill>
              <a:latin typeface="Panton Bold" panose="000008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581018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95"/>
          <a:stretch/>
        </p:blipFill>
        <p:spPr>
          <a:xfrm>
            <a:off x="0" y="1"/>
            <a:ext cx="12192000" cy="6939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2203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9536"/>
            <a:ext cx="12192000" cy="54094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606857" y="274761"/>
            <a:ext cx="49782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НАХОДИМ САЙТ КОНКУРСА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41458607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7034"/>
            <a:ext cx="12192000" cy="629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708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09550"/>
            <a:ext cx="12376671" cy="664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037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0312"/>
            <a:ext cx="12192000" cy="664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3210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3850" y="247650"/>
            <a:ext cx="13185871" cy="6610350"/>
          </a:xfrm>
        </p:spPr>
      </p:pic>
    </p:spTree>
    <p:extLst>
      <p:ext uri="{BB962C8B-B14F-4D97-AF65-F5344CB8AC3E}">
        <p14:creationId xmlns:p14="http://schemas.microsoft.com/office/powerpoint/2010/main" val="19586186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4183" y="155574"/>
            <a:ext cx="13560393" cy="6702426"/>
          </a:xfrm>
        </p:spPr>
      </p:pic>
    </p:spTree>
    <p:extLst>
      <p:ext uri="{BB962C8B-B14F-4D97-AF65-F5344CB8AC3E}">
        <p14:creationId xmlns:p14="http://schemas.microsoft.com/office/powerpoint/2010/main" val="35815021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500"/>
            <a:ext cx="12192000" cy="666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4287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325" y="984774"/>
            <a:ext cx="10515600" cy="4351338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50"/>
            <a:ext cx="12192000" cy="668655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143375" y="295305"/>
            <a:ext cx="2647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Создание АРХИВА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337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98</TotalTime>
  <Words>24</Words>
  <Application>Microsoft Office PowerPoint</Application>
  <PresentationFormat>Широкоэкранный</PresentationFormat>
  <Paragraphs>3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Panton Bold</vt:lpstr>
      <vt:lpstr>Panton SemiBold</vt:lpstr>
      <vt:lpstr>Panton</vt:lpstr>
      <vt:lpstr>Arial</vt:lpstr>
      <vt:lpstr>Calibri Light</vt:lpstr>
      <vt:lpstr>Calibri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КЛАД    «О ходе подготовки образовательных организаций  к новому 2022-2023 учебному году»</dc:title>
  <dc:creator>Иванова Вероника Вадимовна</dc:creator>
  <cp:lastModifiedBy>Administrator</cp:lastModifiedBy>
  <cp:revision>285</cp:revision>
  <cp:lastPrinted>2026-02-09T10:47:42Z</cp:lastPrinted>
  <dcterms:created xsi:type="dcterms:W3CDTF">2022-07-23T09:53:44Z</dcterms:created>
  <dcterms:modified xsi:type="dcterms:W3CDTF">2026-05-18T12:50:33Z</dcterms:modified>
</cp:coreProperties>
</file>